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894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570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85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906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559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461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418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441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577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9756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534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09722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1FCB5-671D-45AC-BC7E-4D66E1BB1622}" type="datetimeFigureOut">
              <a:rPr lang="en-US" smtClean="0"/>
              <a:t>4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96E9E-1319-4CC0-AF68-3EF2C7186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825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339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939567" y="318782"/>
            <a:ext cx="4613945" cy="23489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STOCK LIS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39567" y="3482828"/>
            <a:ext cx="9597005" cy="29179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CHAR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39567" y="1349929"/>
            <a:ext cx="771787" cy="2943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STAR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88254" y="1349929"/>
            <a:ext cx="771787" cy="2943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END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39567" y="2046914"/>
            <a:ext cx="771787" cy="2943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#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922627" y="318782"/>
            <a:ext cx="4613945" cy="275997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STOCK INFO (?)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30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orgio Sirtori</dc:creator>
  <cp:lastModifiedBy>Giorgio Sirtori</cp:lastModifiedBy>
  <cp:revision>1</cp:revision>
  <dcterms:created xsi:type="dcterms:W3CDTF">2023-04-27T06:56:07Z</dcterms:created>
  <dcterms:modified xsi:type="dcterms:W3CDTF">2023-04-27T06:56:58Z</dcterms:modified>
</cp:coreProperties>
</file>